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8E6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0" autoAdjust="0"/>
    <p:restoredTop sz="94660"/>
  </p:normalViewPr>
  <p:slideViewPr>
    <p:cSldViewPr snapToGrid="0">
      <p:cViewPr varScale="1">
        <p:scale>
          <a:sx n="87" d="100"/>
          <a:sy n="87" d="100"/>
        </p:scale>
        <p:origin x="36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11/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Nº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9E3EBFF-15FD-A21D-868A-436E0D2745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3966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471" imgH="470" progId="TCLayout.ActiveDocument.1">
                  <p:embed/>
                </p:oleObj>
              </mc:Choice>
              <mc:Fallback>
                <p:oleObj name="Diapositiva de think-cell" r:id="rId14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s-CL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1/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Nº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88B472E-666E-97C8-F183-13B8D987AB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3700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1" imgH="470" progId="TCLayout.ActiveDocument.1">
                  <p:embed/>
                </p:oleObj>
              </mc:Choice>
              <mc:Fallback>
                <p:oleObj name="Diapositiva de think-cell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114CD0D-F7F7-0211-FE99-05B28C92D4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s-CL" dirty="0"/>
              <a:t>Presentación Portafolio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00DBBFB-5B6F-9018-CD4E-DCEA12F740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L" dirty="0"/>
              <a:t>Modelo Predictivo del valor de los activos de una empresa</a:t>
            </a:r>
          </a:p>
        </p:txBody>
      </p:sp>
    </p:spTree>
    <p:extLst>
      <p:ext uri="{BB962C8B-B14F-4D97-AF65-F5344CB8AC3E}">
        <p14:creationId xmlns:p14="http://schemas.microsoft.com/office/powerpoint/2010/main" val="41743796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A8E95D-BB37-B497-E641-88B2BA331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420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1" imgH="470" progId="TCLayout.ActiveDocument.1">
                  <p:embed/>
                </p:oleObj>
              </mc:Choice>
              <mc:Fallback>
                <p:oleObj name="Diapositiva de think-cell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33A97D3-4C45-8A72-947E-CD539A64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 dirty="0"/>
              <a:t>Explicación del Proyecto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EC3EF65D-E67C-A658-5613-600A4EF35876}"/>
              </a:ext>
            </a:extLst>
          </p:cNvPr>
          <p:cNvSpPr/>
          <p:nvPr/>
        </p:nvSpPr>
        <p:spPr>
          <a:xfrm>
            <a:off x="1115080" y="2260396"/>
            <a:ext cx="1872690" cy="134599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Selección de la empresa o industria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B2B5B0B1-EA0E-6447-0659-BD3B584477D1}"/>
              </a:ext>
            </a:extLst>
          </p:cNvPr>
          <p:cNvSpPr/>
          <p:nvPr/>
        </p:nvSpPr>
        <p:spPr>
          <a:xfrm>
            <a:off x="3561284" y="2260396"/>
            <a:ext cx="1872690" cy="134599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Análisis de supuesto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CC037369-BF4B-4686-3C26-D58C3F146835}"/>
              </a:ext>
            </a:extLst>
          </p:cNvPr>
          <p:cNvSpPr/>
          <p:nvPr/>
        </p:nvSpPr>
        <p:spPr>
          <a:xfrm>
            <a:off x="6007488" y="2260396"/>
            <a:ext cx="1872690" cy="134599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Crear Tasa de descuento con comparables de mercado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CA91061-26E8-8057-0DDD-9B74401088EA}"/>
              </a:ext>
            </a:extLst>
          </p:cNvPr>
          <p:cNvSpPr/>
          <p:nvPr/>
        </p:nvSpPr>
        <p:spPr>
          <a:xfrm>
            <a:off x="8453692" y="2260396"/>
            <a:ext cx="1872690" cy="134599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dirty="0"/>
              <a:t>Descargar serie de datos de ingresos(buscando la mayor cantidad de datos)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7D112056-A1F4-4FE5-68CD-9595485AA140}"/>
              </a:ext>
            </a:extLst>
          </p:cNvPr>
          <p:cNvSpPr/>
          <p:nvPr/>
        </p:nvSpPr>
        <p:spPr>
          <a:xfrm>
            <a:off x="8453692" y="4013034"/>
            <a:ext cx="1872690" cy="134599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Encontrar distribución que se asemeje más a la empresa seleccionada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E05F7B92-65E2-BD9C-B219-B37FE89CA9E1}"/>
              </a:ext>
            </a:extLst>
          </p:cNvPr>
          <p:cNvSpPr/>
          <p:nvPr/>
        </p:nvSpPr>
        <p:spPr>
          <a:xfrm>
            <a:off x="6007488" y="4013034"/>
            <a:ext cx="1872690" cy="134599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Correr el modelo Montecarlo con el FCD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0E1BC1C9-35ED-EAFD-966A-EE63C2FD9CC0}"/>
              </a:ext>
            </a:extLst>
          </p:cNvPr>
          <p:cNvSpPr/>
          <p:nvPr/>
        </p:nvSpPr>
        <p:spPr>
          <a:xfrm>
            <a:off x="3561284" y="4013034"/>
            <a:ext cx="1872690" cy="134599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/>
              <a:t>Ver resultados para ver exactitud del modelo</a:t>
            </a:r>
          </a:p>
        </p:txBody>
      </p: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D3ADF8D8-80D9-9E7C-C43D-28204AA95879}"/>
              </a:ext>
            </a:extLst>
          </p:cNvPr>
          <p:cNvCxnSpPr>
            <a:endCxn id="16" idx="1"/>
          </p:cNvCxnSpPr>
          <p:nvPr/>
        </p:nvCxnSpPr>
        <p:spPr>
          <a:xfrm>
            <a:off x="3050438" y="2933394"/>
            <a:ext cx="51084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9D3FB4BA-8B10-0F90-8777-DF1DB4A364A3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5433974" y="2933394"/>
            <a:ext cx="57351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C0E54B2E-41AC-B8FC-9658-E8B08DDA3DB5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>
            <a:off x="7880178" y="2933394"/>
            <a:ext cx="57351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15B32610-5271-939C-4CB8-46CBEDBEACDE}"/>
              </a:ext>
            </a:extLst>
          </p:cNvPr>
          <p:cNvCxnSpPr>
            <a:cxnSpLocks/>
            <a:stCxn id="18" idx="2"/>
            <a:endCxn id="19" idx="0"/>
          </p:cNvCxnSpPr>
          <p:nvPr/>
        </p:nvCxnSpPr>
        <p:spPr>
          <a:xfrm>
            <a:off x="9390037" y="3606392"/>
            <a:ext cx="0" cy="4066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2DFDE2DF-0CCA-3D29-BB80-9D1AD0F449F1}"/>
              </a:ext>
            </a:extLst>
          </p:cNvPr>
          <p:cNvCxnSpPr>
            <a:cxnSpLocks/>
            <a:stCxn id="19" idx="1"/>
            <a:endCxn id="20" idx="3"/>
          </p:cNvCxnSpPr>
          <p:nvPr/>
        </p:nvCxnSpPr>
        <p:spPr>
          <a:xfrm flipH="1">
            <a:off x="7880178" y="4686032"/>
            <a:ext cx="57351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de flecha 36">
            <a:extLst>
              <a:ext uri="{FF2B5EF4-FFF2-40B4-BE49-F238E27FC236}">
                <a16:creationId xmlns:a16="http://schemas.microsoft.com/office/drawing/2014/main" id="{21889EDD-76A2-F9AC-F2B4-277FD580540E}"/>
              </a:ext>
            </a:extLst>
          </p:cNvPr>
          <p:cNvCxnSpPr>
            <a:cxnSpLocks/>
            <a:stCxn id="20" idx="1"/>
            <a:endCxn id="21" idx="3"/>
          </p:cNvCxnSpPr>
          <p:nvPr/>
        </p:nvCxnSpPr>
        <p:spPr>
          <a:xfrm flipH="1">
            <a:off x="5433974" y="4686032"/>
            <a:ext cx="57351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50082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C8A61-D6D6-F934-7F95-C96AA2FDF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EC7E5C5-D851-7B4E-1C33-125BF88DF4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1" imgH="470" progId="TCLayout.ActiveDocument.1">
                  <p:embed/>
                </p:oleObj>
              </mc:Choice>
              <mc:Fallback>
                <p:oleObj name="Diapositiva de think-cell" r:id="rId3" imgW="471" imgH="47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A8E95D-BB37-B497-E641-88B2BA331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A4391F2-08F7-B73F-DAFC-5FA714AEA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 dirty="0"/>
              <a:t>Problema y soluci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70E6E9A-51AD-36C7-8A91-7AB71EF7F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8776" y="2242503"/>
            <a:ext cx="3873887" cy="3450613"/>
          </a:xfrm>
        </p:spPr>
        <p:txBody>
          <a:bodyPr/>
          <a:lstStyle/>
          <a:p>
            <a:pPr marL="0" indent="0">
              <a:buNone/>
            </a:pPr>
            <a:r>
              <a:rPr lang="es-CL" dirty="0"/>
              <a:t>Problema:</a:t>
            </a:r>
          </a:p>
          <a:p>
            <a:r>
              <a:rPr lang="es-CL" dirty="0"/>
              <a:t>+ tiempo de desarrollo y análisis</a:t>
            </a:r>
          </a:p>
          <a:p>
            <a:r>
              <a:rPr lang="es-CL" dirty="0"/>
              <a:t>Falta de alternativas de valorización</a:t>
            </a:r>
          </a:p>
          <a:p>
            <a:r>
              <a:rPr lang="es-CL" dirty="0"/>
              <a:t>Metodología actual no esta automatizada</a:t>
            </a:r>
          </a:p>
          <a:p>
            <a:endParaRPr lang="es-CL" dirty="0"/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49C60244-CE59-4041-55E4-66D3D8550606}"/>
              </a:ext>
            </a:extLst>
          </p:cNvPr>
          <p:cNvSpPr txBox="1">
            <a:spLocks/>
          </p:cNvSpPr>
          <p:nvPr/>
        </p:nvSpPr>
        <p:spPr>
          <a:xfrm>
            <a:off x="6253216" y="2242502"/>
            <a:ext cx="3873887" cy="345061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CL" dirty="0"/>
              <a:t>Solución:</a:t>
            </a:r>
          </a:p>
          <a:p>
            <a:r>
              <a:rPr lang="es-CL" dirty="0"/>
              <a:t>- tiempo de desarrollo y análisis</a:t>
            </a:r>
          </a:p>
          <a:p>
            <a:r>
              <a:rPr lang="es-CL" dirty="0"/>
              <a:t>Alternativa de valorización rápida y confiable</a:t>
            </a:r>
          </a:p>
          <a:p>
            <a:r>
              <a:rPr lang="es-CL" dirty="0"/>
              <a:t>Usaría el mismo concepto de valorización que se usa actualmente y que esta muy probado por el mercado.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95837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2D49C-7CD6-70F6-C3FE-F4C1F07F8E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ADA3E5B-838C-BFA2-D651-338C583E8E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095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1" imgH="470" progId="TCLayout.ActiveDocument.1">
                  <p:embed/>
                </p:oleObj>
              </mc:Choice>
              <mc:Fallback>
                <p:oleObj name="Diapositiva de think-cell" r:id="rId3" imgW="471" imgH="47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C7E5C5-D851-7B4E-1C33-125BF88DF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845E967-879C-C654-9E0D-18A684012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 dirty="0"/>
              <a:t>Carta Gantt</a:t>
            </a: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A4A3207F-BA65-0809-7612-D22F97F9FA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783142"/>
              </p:ext>
            </p:extLst>
          </p:nvPr>
        </p:nvGraphicFramePr>
        <p:xfrm>
          <a:off x="2279330" y="2321032"/>
          <a:ext cx="7815646" cy="1958358"/>
        </p:xfrm>
        <a:graphic>
          <a:graphicData uri="http://schemas.openxmlformats.org/drawingml/2006/table">
            <a:tbl>
              <a:tblPr/>
              <a:tblGrid>
                <a:gridCol w="1863333">
                  <a:extLst>
                    <a:ext uri="{9D8B030D-6E8A-4147-A177-3AD203B41FA5}">
                      <a16:colId xmlns:a16="http://schemas.microsoft.com/office/drawing/2014/main" val="3493872047"/>
                    </a:ext>
                  </a:extLst>
                </a:gridCol>
                <a:gridCol w="327809">
                  <a:extLst>
                    <a:ext uri="{9D8B030D-6E8A-4147-A177-3AD203B41FA5}">
                      <a16:colId xmlns:a16="http://schemas.microsoft.com/office/drawing/2014/main" val="1305739958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190443104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3886606566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1567289265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2935323376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672068279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1416857129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1474948726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3531083263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1905496558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430989962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3223716144"/>
                    </a:ext>
                  </a:extLst>
                </a:gridCol>
                <a:gridCol w="431327">
                  <a:extLst>
                    <a:ext uri="{9D8B030D-6E8A-4147-A177-3AD203B41FA5}">
                      <a16:colId xmlns:a16="http://schemas.microsoft.com/office/drawing/2014/main" val="3734142535"/>
                    </a:ext>
                  </a:extLst>
                </a:gridCol>
                <a:gridCol w="448580">
                  <a:extLst>
                    <a:ext uri="{9D8B030D-6E8A-4147-A177-3AD203B41FA5}">
                      <a16:colId xmlns:a16="http://schemas.microsoft.com/office/drawing/2014/main" val="2170238274"/>
                    </a:ext>
                  </a:extLst>
                </a:gridCol>
              </a:tblGrid>
              <a:tr h="326393">
                <a:tc>
                  <a:txBody>
                    <a:bodyPr/>
                    <a:lstStyle/>
                    <a:p>
                      <a:pPr algn="l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Tarea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050" b="0" i="0" u="none" strike="noStrike" dirty="0"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380178"/>
                  </a:ext>
                </a:extLst>
              </a:tr>
              <a:tr h="32639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b="0" i="0" u="none" strike="noStrike" dirty="0">
                          <a:effectLst/>
                          <a:latin typeface="Arial" panose="020B0604020202020204" pitchFamily="34" charset="0"/>
                        </a:rPr>
                        <a:t>Buscar  información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CL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9266686"/>
                  </a:ext>
                </a:extLst>
              </a:tr>
              <a:tr h="32639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b="0" i="0" u="none" strike="noStrike" dirty="0">
                          <a:effectLst/>
                          <a:latin typeface="Arial" panose="020B0604020202020204" pitchFamily="34" charset="0"/>
                        </a:rPr>
                        <a:t>Crear primer Avance Códig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877666"/>
                  </a:ext>
                </a:extLst>
              </a:tr>
              <a:tr h="32639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b="0" i="0" u="none" strike="noStrike" dirty="0">
                          <a:effectLst/>
                          <a:latin typeface="Arial" panose="020B0604020202020204" pitchFamily="34" charset="0"/>
                        </a:rPr>
                        <a:t>Ver mejora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3544737"/>
                  </a:ext>
                </a:extLst>
              </a:tr>
              <a:tr h="32639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b="0" i="0" u="none" strike="noStrike" dirty="0">
                          <a:effectLst/>
                          <a:latin typeface="Arial" panose="020B0604020202020204" pitchFamily="34" charset="0"/>
                        </a:rPr>
                        <a:t>Segunda iteración código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3240451"/>
                  </a:ext>
                </a:extLst>
              </a:tr>
              <a:tr h="32639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b="0" i="0" u="none" strike="noStrike" dirty="0">
                          <a:effectLst/>
                          <a:latin typeface="Arial" panose="020B0604020202020204" pitchFamily="34" charset="0"/>
                        </a:rPr>
                        <a:t>Posibles Mejoras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800" b="0" i="0" u="none" strike="noStrike" dirty="0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4592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02239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C55DE-E68A-57F1-F9CF-8D1CB5A18D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5F3C45E-4164-F5C0-87C2-C3909F73DD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50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1" imgH="470" progId="TCLayout.ActiveDocument.1">
                  <p:embed/>
                </p:oleObj>
              </mc:Choice>
              <mc:Fallback>
                <p:oleObj name="Diapositiva de think-cell" r:id="rId3" imgW="471" imgH="47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DA3E5B-838C-BFA2-D651-338C583E8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FD17A292-B353-4432-0351-1F66D7D82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CL" dirty="0"/>
              <a:t>Resultados y mejoras</a:t>
            </a: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0BD0E9D7-CBC7-A6D8-754D-C2E71E1AE7B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538374" y="3276600"/>
            <a:ext cx="3710026" cy="3710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688AA0B3-17CB-7617-7774-79995D48FFD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duotone>
              <a:prstClr val="black"/>
              <a:srgbClr val="E8E6E3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822211" y="1920899"/>
            <a:ext cx="6491327" cy="4057079"/>
          </a:xfrm>
          <a:prstGeom prst="rect">
            <a:avLst/>
          </a:prstGeom>
        </p:spPr>
      </p:pic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F554260C-5374-2E4F-E6F2-318850294D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67010" y="2299634"/>
            <a:ext cx="3873887" cy="345061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s-CL" dirty="0"/>
              <a:t>Mejoras:</a:t>
            </a:r>
          </a:p>
          <a:p>
            <a:r>
              <a:rPr lang="es-CL" sz="2300" dirty="0"/>
              <a:t>Conectar con API de Capital IQ</a:t>
            </a:r>
          </a:p>
          <a:p>
            <a:r>
              <a:rPr lang="es-CL" sz="2300" dirty="0"/>
              <a:t>Dejar de depender solo de las ventas para las proyecciones(viene de la mejora anterior)</a:t>
            </a:r>
          </a:p>
          <a:p>
            <a:r>
              <a:rPr lang="es-CL" sz="2300" dirty="0"/>
              <a:t>Seguir mejorando el código para representar el valor de Apple más cercano a la realidad</a:t>
            </a:r>
          </a:p>
          <a:p>
            <a:r>
              <a:rPr lang="es-CL" dirty="0"/>
              <a:t>Meta: si logro modelar el valor de Apple y de otras empresas abiertas en bolsa tendré supuestos más fuertes cuando lo quiera aplicar a otras empresas.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95638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ería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ería]]</Template>
  <TotalTime>31</TotalTime>
  <Words>294</Words>
  <Application>Microsoft Office PowerPoint</Application>
  <PresentationFormat>Panorámica</PresentationFormat>
  <Paragraphs>115</Paragraphs>
  <Slides>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9" baseType="lpstr">
      <vt:lpstr>Arial</vt:lpstr>
      <vt:lpstr>Gill Sans MT</vt:lpstr>
      <vt:lpstr>Galería</vt:lpstr>
      <vt:lpstr>Diapositiva de think-cell</vt:lpstr>
      <vt:lpstr>Presentación Portafolio</vt:lpstr>
      <vt:lpstr>Explicación del Proyecto</vt:lpstr>
      <vt:lpstr>Problema y solución</vt:lpstr>
      <vt:lpstr>Carta Gantt</vt:lpstr>
      <vt:lpstr>Resultados y mejor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uan Pablo Leiva</dc:creator>
  <cp:lastModifiedBy>Juan Pablo Leiva</cp:lastModifiedBy>
  <cp:revision>1</cp:revision>
  <dcterms:created xsi:type="dcterms:W3CDTF">2024-11-04T13:05:08Z</dcterms:created>
  <dcterms:modified xsi:type="dcterms:W3CDTF">2024-11-04T13:36:21Z</dcterms:modified>
</cp:coreProperties>
</file>